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sldIdLst>
    <p:sldId id="294" r:id="rId3"/>
    <p:sldId id="306" r:id="rId4"/>
    <p:sldId id="821" r:id="rId5"/>
    <p:sldId id="822" r:id="rId6"/>
    <p:sldId id="823" r:id="rId7"/>
    <p:sldId id="302" r:id="rId8"/>
    <p:sldId id="824" r:id="rId9"/>
    <p:sldId id="825" r:id="rId10"/>
    <p:sldId id="305" r:id="rId11"/>
    <p:sldId id="275" r:id="rId12"/>
    <p:sldId id="826" r:id="rId13"/>
  </p:sldIdLst>
  <p:sldSz cx="9144000" cy="6858000" type="screen4x3"/>
  <p:notesSz cx="6858000" cy="99790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ScaleX="100000" custLinFactNeighborY="42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C41D529-CC68-4BCC-8486-20B2D9BDC839}" type="presOf" srcId="{C055D918-0D48-44D3-9287-CAE1B93EB64A}" destId="{8C222443-D6D5-437E-8A06-7845FF64044F}" srcOrd="0" destOrd="0" presId="urn:microsoft.com/office/officeart/2005/8/layout/pyramid1"/>
    <dgm:cxn modelId="{E90FCB94-7DCB-4F7F-AC3D-88A798C1B2B6}" type="presOf" srcId="{F014B99B-BC0F-4D51-AA35-03139CBC5BDF}" destId="{47753778-DDCD-4F66-8671-0963E55AC1AB}" srcOrd="0" destOrd="0" presId="urn:microsoft.com/office/officeart/2005/8/layout/pyramid1"/>
    <dgm:cxn modelId="{EF81BD39-F2DB-41C4-AD97-02CB423A36A7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0F9836B-E287-4F4A-8132-3A83E4FFDF83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C7246BBB-ADFA-4AD8-ACC7-D8DBC82B49DB}" type="presOf" srcId="{8380A261-4409-4C6B-8A07-0D64C5422F6D}" destId="{3405B94A-B110-4EB0-B99D-680A85764021}" srcOrd="0" destOrd="0" presId="urn:microsoft.com/office/officeart/2005/8/layout/pyramid1"/>
    <dgm:cxn modelId="{DB332CA4-F8DC-490D-B345-AAEFFD8ED31D}" type="presOf" srcId="{CBB2EDB4-08BF-49DB-9282-C363CE23E3D0}" destId="{8064A9E2-4365-4891-A563-4210D9FE6047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28B19BDE-6763-4F81-BD0C-4AB8E539457D}" type="presOf" srcId="{8380A261-4409-4C6B-8A07-0D64C5422F6D}" destId="{EB789FCB-B92C-4A52-BB06-4A95FA62001B}" srcOrd="1" destOrd="0" presId="urn:microsoft.com/office/officeart/2005/8/layout/pyramid1"/>
    <dgm:cxn modelId="{B76C2864-DF6E-4384-9D89-C9DDF46EBAA8}" type="presParOf" srcId="{8C222443-D6D5-437E-8A06-7845FF64044F}" destId="{8E592AC7-B094-488F-86DE-8B46AA43A5F7}" srcOrd="0" destOrd="0" presId="urn:microsoft.com/office/officeart/2005/8/layout/pyramid1"/>
    <dgm:cxn modelId="{1F9F2855-00FB-402C-A070-CF470A1A24E0}" type="presParOf" srcId="{8E592AC7-B094-488F-86DE-8B46AA43A5F7}" destId="{47753778-DDCD-4F66-8671-0963E55AC1AB}" srcOrd="0" destOrd="0" presId="urn:microsoft.com/office/officeart/2005/8/layout/pyramid1"/>
    <dgm:cxn modelId="{3A011692-BE1F-4264-B00E-9E74E798FCAC}" type="presParOf" srcId="{8E592AC7-B094-488F-86DE-8B46AA43A5F7}" destId="{158BBE6D-1C8E-4142-827F-B1B32D20364B}" srcOrd="1" destOrd="0" presId="urn:microsoft.com/office/officeart/2005/8/layout/pyramid1"/>
    <dgm:cxn modelId="{A60F56D1-8E22-4174-A2F6-AB405B5C3C5D}" type="presParOf" srcId="{8C222443-D6D5-437E-8A06-7845FF64044F}" destId="{08609C55-E487-4600-AFD0-8994D3888F22}" srcOrd="1" destOrd="0" presId="urn:microsoft.com/office/officeart/2005/8/layout/pyramid1"/>
    <dgm:cxn modelId="{498783BE-6ADA-46B6-935D-3BD205F074F9}" type="presParOf" srcId="{08609C55-E487-4600-AFD0-8994D3888F22}" destId="{7099C5AD-A666-455F-9144-31509FAE35FB}" srcOrd="0" destOrd="0" presId="urn:microsoft.com/office/officeart/2005/8/layout/pyramid1"/>
    <dgm:cxn modelId="{7CA74828-9988-4441-97B5-4AD74B2981E7}" type="presParOf" srcId="{08609C55-E487-4600-AFD0-8994D3888F22}" destId="{8064A9E2-4365-4891-A563-4210D9FE6047}" srcOrd="1" destOrd="0" presId="urn:microsoft.com/office/officeart/2005/8/layout/pyramid1"/>
    <dgm:cxn modelId="{03503CEC-D2CA-4142-B344-AC5932F12A7D}" type="presParOf" srcId="{8C222443-D6D5-437E-8A06-7845FF64044F}" destId="{4E66420A-6794-4210-A8DC-A681DFE94B26}" srcOrd="2" destOrd="0" presId="urn:microsoft.com/office/officeart/2005/8/layout/pyramid1"/>
    <dgm:cxn modelId="{88904B70-ED53-4478-907E-245026DB388B}" type="presParOf" srcId="{4E66420A-6794-4210-A8DC-A681DFE94B26}" destId="{3405B94A-B110-4EB0-B99D-680A85764021}" srcOrd="0" destOrd="0" presId="urn:microsoft.com/office/officeart/2005/8/layout/pyramid1"/>
    <dgm:cxn modelId="{5806B9C4-E19A-4EE6-8AFF-3245603966F8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622667"/>
        </a:xfrm>
        <a:prstGeom prst="trapezoid">
          <a:avLst>
            <a:gd name="adj" fmla="val 5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622667"/>
      </dsp:txXfrm>
    </dsp:sp>
    <dsp:sp modelId="{7099C5AD-A666-455F-9144-31509FAE35FB}">
      <dsp:nvSpPr>
        <dsp:cNvPr id="0" name=""/>
        <dsp:cNvSpPr/>
      </dsp:nvSpPr>
      <dsp:spPr>
        <a:xfrm>
          <a:off x="744728" y="1638391"/>
          <a:ext cx="3000395" cy="1622667"/>
        </a:xfrm>
        <a:prstGeom prst="trapezoid">
          <a:avLst>
            <a:gd name="adj" fmla="val 46226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638391"/>
        <a:ext cx="1950256" cy="1622667"/>
      </dsp:txXfrm>
    </dsp:sp>
    <dsp:sp modelId="{3405B94A-B110-4EB0-B99D-680A85764021}">
      <dsp:nvSpPr>
        <dsp:cNvPr id="0" name=""/>
        <dsp:cNvSpPr/>
      </dsp:nvSpPr>
      <dsp:spPr>
        <a:xfrm>
          <a:off x="0" y="3245335"/>
          <a:ext cx="4500593" cy="1622667"/>
        </a:xfrm>
        <a:prstGeom prst="trapezoid">
          <a:avLst>
            <a:gd name="adj" fmla="val 46226"/>
          </a:avLst>
        </a:prstGeom>
        <a:solidFill>
          <a:srgbClr val="00B0F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245335"/>
        <a:ext cx="2925385" cy="16226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8951"/>
          </a:xfrm>
          <a:prstGeom prst="rect">
            <a:avLst/>
          </a:prstGeom>
        </p:spPr>
        <p:txBody>
          <a:bodyPr vert="horz" lIns="92044" tIns="46022" rIns="92044" bIns="4602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8951"/>
          </a:xfrm>
          <a:prstGeom prst="rect">
            <a:avLst/>
          </a:prstGeom>
        </p:spPr>
        <p:txBody>
          <a:bodyPr vert="horz" lIns="92044" tIns="46022" rIns="92044" bIns="46022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20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47713"/>
            <a:ext cx="4987925" cy="3741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44" tIns="46022" rIns="92044" bIns="4602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40038"/>
            <a:ext cx="5486400" cy="4490561"/>
          </a:xfrm>
          <a:prstGeom prst="rect">
            <a:avLst/>
          </a:prstGeom>
        </p:spPr>
        <p:txBody>
          <a:bodyPr vert="horz" lIns="92044" tIns="46022" rIns="92044" bIns="4602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78343"/>
            <a:ext cx="2971800" cy="498951"/>
          </a:xfrm>
          <a:prstGeom prst="rect">
            <a:avLst/>
          </a:prstGeom>
        </p:spPr>
        <p:txBody>
          <a:bodyPr vert="horz" lIns="92044" tIns="46022" rIns="92044" bIns="4602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78343"/>
            <a:ext cx="2971800" cy="498951"/>
          </a:xfrm>
          <a:prstGeom prst="rect">
            <a:avLst/>
          </a:prstGeom>
        </p:spPr>
        <p:txBody>
          <a:bodyPr vert="horz" lIns="92044" tIns="46022" rIns="92044" bIns="46022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20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20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20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7402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827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61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9627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0478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0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9506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340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20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3484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205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662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20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20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20.12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20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20.12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20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20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20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65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слинский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ромышленно-гуманитарный техникум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ГБПОУ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ПГ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Гвоздева Т.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и и проведения оперативного совещания в ГБПОУ  «</a:t>
            </a:r>
            <a:r>
              <a:rPr lang="ru-RU" sz="28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слинский</a:t>
            </a: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мышленно-гуманитарный техникум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2 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67320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600200"/>
            <a:ext cx="7920880" cy="4709119"/>
          </a:xfrm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4192"/>
            <a:ext cx="9144000" cy="646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854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OEM\Desktop\ттлтлл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2736"/>
            <a:ext cx="9144000" cy="5902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–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спалько Алексей Николаевич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0" indent="0"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заместитель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 п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Р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800" dirty="0" smtClean="0"/>
              <a:t>	</a:t>
            </a:r>
          </a:p>
          <a:p>
            <a:pPr marL="0" indent="0">
              <a:buNone/>
            </a:pPr>
            <a:r>
              <a:rPr lang="ru-RU" sz="2800" dirty="0" smtClean="0"/>
              <a:t>Команда проекта:</a:t>
            </a:r>
          </a:p>
          <a:p>
            <a:pPr>
              <a:lnSpc>
                <a:spcPct val="150000"/>
              </a:lnSpc>
            </a:pP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фанов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Николаевн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заместитель директора по УР</a:t>
            </a:r>
          </a:p>
          <a:p>
            <a:pPr>
              <a:lnSpc>
                <a:spcPct val="150000"/>
              </a:lnSpc>
            </a:pP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кульцев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урия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льфаковн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заместитель директора по УВР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пилина Елена Петровн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заместитель директора по ТО</a:t>
            </a:r>
          </a:p>
          <a:p>
            <a:pPr>
              <a:lnSpc>
                <a:spcPct val="1500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боков Павел Александрович, инженер ЭВМ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800" dirty="0" smtClean="0"/>
          </a:p>
        </p:txBody>
      </p:sp>
      <p:pic>
        <p:nvPicPr>
          <p:cNvPr id="13" name="Рисунок 12" descr="IMG_0061"/>
          <p:cNvPicPr>
            <a:picLocks noGrp="1" noChangeAspect="1"/>
          </p:cNvPicPr>
          <p:nvPr isPhoto="1"/>
        </p:nvPicPr>
        <p:blipFill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1" y="1019410"/>
            <a:ext cx="1748558" cy="1689510"/>
          </a:xfrm>
          <a:prstGeom prst="rect">
            <a:avLst/>
          </a:prstGeom>
          <a:noFill/>
          <a:ln>
            <a:noFill/>
          </a:ln>
        </p:spPr>
      </p:pic>
      <p:pic>
        <p:nvPicPr>
          <p:cNvPr id="8194" name="Picture 2" descr="C:\Users\OEM\AppData\Local\Temp\Rar$DRa12100.22352\IMG_214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2935614"/>
            <a:ext cx="1995686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OEM\AppData\Local\Temp\Rar$DRa12100.24451\IMG_2145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040" y="4518443"/>
            <a:ext cx="1818482" cy="1790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C:\Users\OEM\AppData\Local\Temp\Rar$DRa12100.26534\IMG_214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4725144"/>
            <a:ext cx="1844824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466" y="764704"/>
            <a:ext cx="4851067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03647" y="685434"/>
            <a:ext cx="7637923" cy="676672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Проведение оперативного совещания</a:t>
            </a:r>
            <a:endParaRPr lang="ru-RU" dirty="0"/>
          </a:p>
        </p:txBody>
      </p:sp>
      <p:pic>
        <p:nvPicPr>
          <p:cNvPr id="4098" name="Picture 2" descr="C:\Users\OEM\Desktop\Бережливые технологии в образовании\фото оперативного совещания\IMG_21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469560" y="-11503025"/>
            <a:ext cx="3216000" cy="24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OEM\Desktop\Бережливые технологии в образовании\фото оперативного совещания\IMG_210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196752"/>
            <a:ext cx="3373230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OEM\Desktop\Бережливые технологии в образовании\фото оперативного совещания\IMG_211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44" y="3573016"/>
            <a:ext cx="3838486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20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 descr="76846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006513" y="6650038"/>
            <a:ext cx="538162" cy="530225"/>
          </a:xfrm>
          <a:prstGeom prst="rect">
            <a:avLst/>
          </a:prstGeom>
        </p:spPr>
      </p:pic>
      <p:sp>
        <p:nvSpPr>
          <p:cNvPr id="12" name="Пятно 1 11"/>
          <p:cNvSpPr/>
          <p:nvPr/>
        </p:nvSpPr>
        <p:spPr>
          <a:xfrm>
            <a:off x="13322300" y="6269038"/>
            <a:ext cx="742950" cy="6953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/>
              <a:t>3,4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81670"/>
            <a:ext cx="9144000" cy="498736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573778" y="1448684"/>
            <a:ext cx="359914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565" y="588118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5976092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97166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5656" y="365837"/>
            <a:ext cx="2484277" cy="270030"/>
          </a:xfrm>
        </p:spPr>
        <p:txBody>
          <a:bodyPr rtlCol="0">
            <a:noAutofit/>
          </a:bodyPr>
          <a:lstStyle/>
          <a:p>
            <a:pPr algn="just"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1938217"/>
            <a:ext cx="7886700" cy="403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37692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5679281"/>
            <a:ext cx="260747" cy="214313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rgbClr val="5B9BD5">
                    <a:lumMod val="50000"/>
                  </a:srgb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716016" y="2060848"/>
            <a:ext cx="3117499" cy="46183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 - нет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057545" y="2852936"/>
            <a:ext cx="2810024" cy="53578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 -нет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886315" y="5445224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prstClr val="white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3048521" y="5445223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048521" y="4798540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6632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923913" y="232616"/>
            <a:ext cx="2484277" cy="2700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13" y="525368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136" y="6200549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786416" y="960937"/>
            <a:ext cx="359914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923759" y="4833734"/>
            <a:ext cx="484584" cy="37861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2312766727"/>
              </p:ext>
            </p:extLst>
          </p:nvPr>
        </p:nvGraphicFramePr>
        <p:xfrm>
          <a:off x="264961" y="1332546"/>
          <a:ext cx="4500593" cy="48680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2" name="Скругленный прямоугольник 21"/>
          <p:cNvSpPr/>
          <p:nvPr/>
        </p:nvSpPr>
        <p:spPr>
          <a:xfrm>
            <a:off x="4634335" y="3775801"/>
            <a:ext cx="4451297" cy="240763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alt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Частые </a:t>
            </a:r>
            <a:r>
              <a:rPr lang="ru-RU" alt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мещения </a:t>
            </a:r>
            <a:r>
              <a:rPr lang="ru-RU" alt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ду головным учреждением и филиалами</a:t>
            </a:r>
            <a:endParaRPr lang="ru-RU" alt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alt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Длительный сбор на проведения оперативного совещания</a:t>
            </a:r>
          </a:p>
          <a:p>
            <a:pPr>
              <a:defRPr/>
            </a:pPr>
            <a:r>
              <a:rPr lang="ru-RU" alt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Не </a:t>
            </a:r>
            <a:r>
              <a:rPr lang="ru-RU" alt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е выполнение полномочий руководителями филиалов </a:t>
            </a:r>
            <a:r>
              <a:rPr lang="ru-RU" alt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ого </a:t>
            </a:r>
            <a:r>
              <a:rPr lang="ru-RU" alt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я</a:t>
            </a:r>
          </a:p>
          <a:p>
            <a:pPr>
              <a:defRPr/>
            </a:pPr>
            <a:r>
              <a:rPr lang="ru-RU" alt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Ожидание проведения оперативного совещания</a:t>
            </a:r>
          </a:p>
        </p:txBody>
      </p:sp>
    </p:spTree>
    <p:extLst>
      <p:ext uri="{BB962C8B-B14F-4D97-AF65-F5344CB8AC3E}">
        <p14:creationId xmlns:p14="http://schemas.microsoft.com/office/powerpoint/2010/main" val="37921686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0074" y="5656022"/>
            <a:ext cx="703622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 4 раза.</a:t>
            </a:r>
            <a:r>
              <a:rPr lang="ru-RU" sz="1600" b="1" dirty="0" smtClean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 descr="C:\Users\OEM\Downloads\2022-12-20_15-30-45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53" y="1124744"/>
            <a:ext cx="8411106" cy="439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5</TotalTime>
  <Words>181</Words>
  <Application>Microsoft Office PowerPoint</Application>
  <PresentationFormat>Экран (4:3)</PresentationFormat>
  <Paragraphs>63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Тема Office</vt:lpstr>
      <vt:lpstr>1_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OEM</cp:lastModifiedBy>
  <cp:revision>146</cp:revision>
  <cp:lastPrinted>2022-11-17T10:06:04Z</cp:lastPrinted>
  <dcterms:created xsi:type="dcterms:W3CDTF">2018-08-20T14:01:12Z</dcterms:created>
  <dcterms:modified xsi:type="dcterms:W3CDTF">2022-12-20T10:58:43Z</dcterms:modified>
</cp:coreProperties>
</file>